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tags/tag4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notesSlides/notesSlide18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2" r:id="rId4"/>
  </p:sldMasterIdLst>
  <p:notesMasterIdLst>
    <p:notesMasterId r:id="rId32"/>
  </p:notesMasterIdLst>
  <p:sldIdLst>
    <p:sldId id="354" r:id="rId5"/>
    <p:sldId id="298" r:id="rId6"/>
    <p:sldId id="355" r:id="rId7"/>
    <p:sldId id="329" r:id="rId8"/>
    <p:sldId id="357" r:id="rId9"/>
    <p:sldId id="361" r:id="rId10"/>
    <p:sldId id="358" r:id="rId11"/>
    <p:sldId id="360" r:id="rId12"/>
    <p:sldId id="377" r:id="rId13"/>
    <p:sldId id="376" r:id="rId14"/>
    <p:sldId id="362" r:id="rId15"/>
    <p:sldId id="363" r:id="rId16"/>
    <p:sldId id="365" r:id="rId17"/>
    <p:sldId id="364" r:id="rId18"/>
    <p:sldId id="371" r:id="rId19"/>
    <p:sldId id="379" r:id="rId20"/>
    <p:sldId id="378" r:id="rId21"/>
    <p:sldId id="380" r:id="rId22"/>
    <p:sldId id="367" r:id="rId23"/>
    <p:sldId id="383" r:id="rId24"/>
    <p:sldId id="366" r:id="rId25"/>
    <p:sldId id="373" r:id="rId26"/>
    <p:sldId id="382" r:id="rId27"/>
    <p:sldId id="375" r:id="rId28"/>
    <p:sldId id="369" r:id="rId29"/>
    <p:sldId id="368" r:id="rId30"/>
    <p:sldId id="381" r:id="rId31"/>
  </p:sldIdLst>
  <p:sldSz cx="9144000" cy="5143500" type="screen16x9"/>
  <p:notesSz cx="6858000" cy="9144000"/>
  <p:embeddedFontLst>
    <p:embeddedFont>
      <p:font typeface="Wingdings 3" panose="05040102010807070707" pitchFamily="18" charset="2"/>
      <p:regular r:id="rId33"/>
    </p:embeddedFont>
    <p:embeddedFont>
      <p:font typeface="Lufthansa Office Text" panose="020B0404040000000004" pitchFamily="34" charset="0"/>
      <p:regular r:id="rId34"/>
      <p:bold r:id="rId35"/>
    </p:embeddedFont>
    <p:embeddedFont>
      <p:font typeface="Lufthansa Office Head" panose="020B0404040000000004" pitchFamily="34" charset="0"/>
      <p:regular r:id="rId36"/>
      <p:bold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354"/>
            <p14:sldId id="298"/>
            <p14:sldId id="355"/>
            <p14:sldId id="329"/>
            <p14:sldId id="357"/>
            <p14:sldId id="361"/>
            <p14:sldId id="358"/>
            <p14:sldId id="360"/>
            <p14:sldId id="377"/>
            <p14:sldId id="376"/>
            <p14:sldId id="362"/>
            <p14:sldId id="363"/>
            <p14:sldId id="365"/>
            <p14:sldId id="364"/>
            <p14:sldId id="371"/>
            <p14:sldId id="379"/>
            <p14:sldId id="378"/>
            <p14:sldId id="380"/>
            <p14:sldId id="367"/>
            <p14:sldId id="383"/>
            <p14:sldId id="366"/>
            <p14:sldId id="373"/>
            <p14:sldId id="382"/>
            <p14:sldId id="375"/>
            <p14:sldId id="369"/>
            <p14:sldId id="368"/>
            <p14:sldId id="381"/>
          </p14:sldIdLst>
        </p14:section>
        <p14:section name="How to" id="{16863EE4-7F89-42F4-8C53-EACDE85B3042}">
          <p14:sldIdLst/>
        </p14:section>
        <p14:section name="Content" id="{686944A7-8C3B-0C4D-AC71-6BE6C12739B7}">
          <p14:sldIdLst/>
        </p14:section>
        <p14:section name="Grafikelemente" id="{5D5180BF-B37C-4A40-B943-AC2365BBD912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1" userDrawn="1">
          <p15:clr>
            <a:srgbClr val="A4A3A4"/>
          </p15:clr>
        </p15:guide>
        <p15:guide id="4" orient="horz" pos="1461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183">
          <p15:clr>
            <a:srgbClr val="A4A3A4"/>
          </p15:clr>
        </p15:guide>
        <p15:guide id="10" orient="horz" pos="554" userDrawn="1">
          <p15:clr>
            <a:srgbClr val="A4A3A4"/>
          </p15:clr>
        </p15:guide>
        <p15:guide id="13" pos="181">
          <p15:clr>
            <a:srgbClr val="A4A3A4"/>
          </p15:clr>
        </p15:guide>
        <p15:guide id="14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ona Liebchen" initials="IL" lastIdx="2" clrIdx="0">
    <p:extLst>
      <p:ext uri="{19B8F6BF-5375-455C-9EA6-DF929625EA0E}">
        <p15:presenceInfo xmlns:p15="http://schemas.microsoft.com/office/powerpoint/2012/main" userId="c1cc907eb12783fe" providerId="Windows Live"/>
      </p:ext>
    </p:extLst>
  </p:cmAuthor>
  <p:cmAuthor id="2" name="AC" initials="A" lastIdx="13" clrIdx="1">
    <p:extLst>
      <p:ext uri="{19B8F6BF-5375-455C-9EA6-DF929625EA0E}">
        <p15:presenceInfo xmlns:p15="http://schemas.microsoft.com/office/powerpoint/2012/main" userId="AC" providerId="None"/>
      </p:ext>
    </p:extLst>
  </p:cmAuthor>
  <p:cmAuthor id="3" name="EvangelosBarmpas" initials="E" lastIdx="1" clrIdx="2">
    <p:extLst>
      <p:ext uri="{19B8F6BF-5375-455C-9EA6-DF929625EA0E}">
        <p15:presenceInfo xmlns:p15="http://schemas.microsoft.com/office/powerpoint/2012/main" userId="S-1-5-21-1251035823-1845981328-1845911597-171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74"/>
    <a:srgbClr val="1F2151"/>
    <a:srgbClr val="0516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EE1D2-C45A-4579-80F0-C4BA900C6FCF}" v="66" dt="2022-07-08T12:04:51.888"/>
    <p1510:client id="{1987F1FC-6408-9FC5-71AD-E708CA3BCF4F}" v="7" dt="2022-07-08T08:49:05.912"/>
    <p1510:client id="{1D269972-A7AD-4520-A8EB-E356448074D7}" v="1" dt="2022-07-12T14:27:19.944"/>
    <p1510:client id="{21CD4558-37C2-452F-877E-7F666EC58CCE}" v="92" dt="2022-07-12T08:19:48.479"/>
    <p1510:client id="{2C759B57-AC6E-4306-9D85-AC84A9DDBF68}" v="31" dt="2022-07-08T11:36:09.754"/>
    <p1510:client id="{557BE660-526F-4D15-8AA1-25212DE46D8E}" v="320" dt="2022-07-12T07:54:1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958" autoAdjust="0"/>
  </p:normalViewPr>
  <p:slideViewPr>
    <p:cSldViewPr snapToGrid="0">
      <p:cViewPr>
        <p:scale>
          <a:sx n="125" d="100"/>
          <a:sy n="125" d="100"/>
        </p:scale>
        <p:origin x="438" y="312"/>
      </p:cViewPr>
      <p:guideLst>
        <p:guide orient="horz" pos="191"/>
        <p:guide orient="horz" pos="1461"/>
        <p:guide orient="horz" pos="2867"/>
        <p:guide orient="horz" pos="2958"/>
        <p:guide pos="2789"/>
        <p:guide pos="5534"/>
        <p:guide pos="183"/>
        <p:guide orient="horz" pos="554"/>
        <p:guide pos="181"/>
        <p:guide pos="292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presProps" Target="presProps.xml"/><Relationship Id="rId66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S, JANOS" userId="S::janos.veres@lhsystems.com::c10494d3-c570-44be-b9ee-e8ca80db21a2" providerId="AD" clId="Web-{557BE660-526F-4D15-8AA1-25212DE46D8E}"/>
    <pc:docChg chg="modSld">
      <pc:chgData name="VERES, JANOS" userId="S::janos.veres@lhsystems.com::c10494d3-c570-44be-b9ee-e8ca80db21a2" providerId="AD" clId="Web-{557BE660-526F-4D15-8AA1-25212DE46D8E}" dt="2022-07-12T07:54:12.260" v="249" actId="20577"/>
      <pc:docMkLst>
        <pc:docMk/>
      </pc:docMkLst>
      <pc:sldChg chg="modSp">
        <pc:chgData name="VERES, JANOS" userId="S::janos.veres@lhsystems.com::c10494d3-c570-44be-b9ee-e8ca80db21a2" providerId="AD" clId="Web-{557BE660-526F-4D15-8AA1-25212DE46D8E}" dt="2022-07-12T07:50:13.160" v="162" actId="20577"/>
        <pc:sldMkLst>
          <pc:docMk/>
          <pc:sldMk cId="3685496553" sldId="345"/>
        </pc:sldMkLst>
        <pc:spChg chg="mod">
          <ac:chgData name="VERES, JANOS" userId="S::janos.veres@lhsystems.com::c10494d3-c570-44be-b9ee-e8ca80db21a2" providerId="AD" clId="Web-{557BE660-526F-4D15-8AA1-25212DE46D8E}" dt="2022-07-12T07:50:13.160" v="162" actId="20577"/>
          <ac:spMkLst>
            <pc:docMk/>
            <pc:sldMk cId="3685496553" sldId="345"/>
            <ac:spMk id="4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9:55.126" v="97" actId="20577"/>
          <ac:spMkLst>
            <pc:docMk/>
            <pc:sldMk cId="3685496553" sldId="345"/>
            <ac:spMk id="9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6:15.213" v="2" actId="20577"/>
          <ac:spMkLst>
            <pc:docMk/>
            <pc:sldMk cId="3685496553" sldId="345"/>
            <ac:spMk id="16" creationId="{00000000-0000-0000-0000-000000000000}"/>
          </ac:spMkLst>
        </pc:spChg>
      </pc:sldChg>
      <pc:sldChg chg="delSp modSp">
        <pc:chgData name="VERES, JANOS" userId="S::janos.veres@lhsystems.com::c10494d3-c570-44be-b9ee-e8ca80db21a2" providerId="AD" clId="Web-{557BE660-526F-4D15-8AA1-25212DE46D8E}" dt="2022-07-12T07:50:42.239" v="165"/>
        <pc:sldMkLst>
          <pc:docMk/>
          <pc:sldMk cId="3205765724" sldId="346"/>
        </pc:sldMkLst>
        <pc:spChg chg="del mod">
          <ac:chgData name="VERES, JANOS" userId="S::janos.veres@lhsystems.com::c10494d3-c570-44be-b9ee-e8ca80db21a2" providerId="AD" clId="Web-{557BE660-526F-4D15-8AA1-25212DE46D8E}" dt="2022-07-12T07:50:42.239" v="165"/>
          <ac:spMkLst>
            <pc:docMk/>
            <pc:sldMk cId="3205765724" sldId="346"/>
            <ac:spMk id="8" creationId="{00000000-0000-0000-0000-000000000000}"/>
          </ac:spMkLst>
        </pc:spChg>
      </pc:sldChg>
      <pc:sldChg chg="addSp delSp modSp">
        <pc:chgData name="VERES, JANOS" userId="S::janos.veres@lhsystems.com::c10494d3-c570-44be-b9ee-e8ca80db21a2" providerId="AD" clId="Web-{557BE660-526F-4D15-8AA1-25212DE46D8E}" dt="2022-07-12T07:54:12.260" v="249" actId="20577"/>
        <pc:sldMkLst>
          <pc:docMk/>
          <pc:sldMk cId="3024609087" sldId="347"/>
        </pc:sldMkLst>
        <pc:spChg chg="add del mod">
          <ac:chgData name="VERES, JANOS" userId="S::janos.veres@lhsystems.com::c10494d3-c570-44be-b9ee-e8ca80db21a2" providerId="AD" clId="Web-{557BE660-526F-4D15-8AA1-25212DE46D8E}" dt="2022-07-12T07:52:30.382" v="223"/>
          <ac:spMkLst>
            <pc:docMk/>
            <pc:sldMk cId="3024609087" sldId="347"/>
            <ac:spMk id="3" creationId="{192C536C-9E88-AB3D-14C5-0F3BE61E9B8F}"/>
          </ac:spMkLst>
        </pc:spChg>
        <pc:spChg chg="add mod">
          <ac:chgData name="VERES, JANOS" userId="S::janos.veres@lhsystems.com::c10494d3-c570-44be-b9ee-e8ca80db21a2" providerId="AD" clId="Web-{557BE660-526F-4D15-8AA1-25212DE46D8E}" dt="2022-07-12T07:54:12.260" v="249" actId="20577"/>
          <ac:spMkLst>
            <pc:docMk/>
            <pc:sldMk cId="3024609087" sldId="347"/>
            <ac:spMk id="8" creationId="{E1ADD6ED-3E46-853F-E174-38FC18220E70}"/>
          </ac:spMkLst>
        </pc:spChg>
      </pc:sldChg>
    </pc:docChg>
  </pc:docChgLst>
  <pc:docChgLst>
    <pc:chgData name="KUEHN, DAGMAR NORIKO" userId="S::dagmar.kuehn@lhsystems.com::7cf04df8-dcca-4203-b18d-6eee424e89ee" providerId="AD" clId="Web-{1987F1FC-6408-9FC5-71AD-E708CA3BCF4F}"/>
    <pc:docChg chg="modSld">
      <pc:chgData name="KUEHN, DAGMAR NORIKO" userId="S::dagmar.kuehn@lhsystems.com::7cf04df8-dcca-4203-b18d-6eee424e89ee" providerId="AD" clId="Web-{1987F1FC-6408-9FC5-71AD-E708CA3BCF4F}" dt="2022-07-08T08:49:05.912" v="5"/>
      <pc:docMkLst>
        <pc:docMk/>
      </pc:docMkLst>
      <pc:sldChg chg="addSp delSp modSp">
        <pc:chgData name="KUEHN, DAGMAR NORIKO" userId="S::dagmar.kuehn@lhsystems.com::7cf04df8-dcca-4203-b18d-6eee424e89ee" providerId="AD" clId="Web-{1987F1FC-6408-9FC5-71AD-E708CA3BCF4F}" dt="2022-07-08T08:49:05.912" v="5"/>
        <pc:sldMkLst>
          <pc:docMk/>
          <pc:sldMk cId="1324588736" sldId="304"/>
        </pc:sldMkLst>
        <pc:spChg chg="del">
          <ac:chgData name="KUEHN, DAGMAR NORIKO" userId="S::dagmar.kuehn@lhsystems.com::7cf04df8-dcca-4203-b18d-6eee424e89ee" providerId="AD" clId="Web-{1987F1FC-6408-9FC5-71AD-E708CA3BCF4F}" dt="2022-07-08T08:49:05.912" v="5"/>
          <ac:spMkLst>
            <pc:docMk/>
            <pc:sldMk cId="1324588736" sldId="304"/>
            <ac:spMk id="7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9:05.912" v="5"/>
          <ac:picMkLst>
            <pc:docMk/>
            <pc:sldMk cId="1324588736" sldId="304"/>
            <ac:picMk id="3" creationId="{3D49B2C7-9A1E-76F8-0ED9-65CA75136B74}"/>
          </ac:picMkLst>
        </pc:picChg>
      </pc:sldChg>
      <pc:sldChg chg="addSp delSp modSp">
        <pc:chgData name="KUEHN, DAGMAR NORIKO" userId="S::dagmar.kuehn@lhsystems.com::7cf04df8-dcca-4203-b18d-6eee424e89ee" providerId="AD" clId="Web-{1987F1FC-6408-9FC5-71AD-E708CA3BCF4F}" dt="2022-07-08T08:48:47.740" v="4" actId="20577"/>
        <pc:sldMkLst>
          <pc:docMk/>
          <pc:sldMk cId="1062364304" sldId="312"/>
        </pc:sldMkLst>
        <pc:spChg chg="del">
          <ac:chgData name="KUEHN, DAGMAR NORIKO" userId="S::dagmar.kuehn@lhsystems.com::7cf04df8-dcca-4203-b18d-6eee424e89ee" providerId="AD" clId="Web-{1987F1FC-6408-9FC5-71AD-E708CA3BCF4F}" dt="2022-07-08T08:48:33.067" v="1"/>
          <ac:spMkLst>
            <pc:docMk/>
            <pc:sldMk cId="1062364304" sldId="312"/>
            <ac:spMk id="11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38.958" v="2"/>
          <ac:spMkLst>
            <pc:docMk/>
            <pc:sldMk cId="1062364304" sldId="312"/>
            <ac:spMk id="24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47.740" v="4" actId="20577"/>
          <ac:spMkLst>
            <pc:docMk/>
            <pc:sldMk cId="1062364304" sldId="312"/>
            <ac:spMk id="25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8:33.067" v="1"/>
          <ac:picMkLst>
            <pc:docMk/>
            <pc:sldMk cId="1062364304" sldId="312"/>
            <ac:picMk id="3" creationId="{BE61AD16-D88A-D9D7-A8ED-AE39C5C3442F}"/>
          </ac:picMkLst>
        </pc:picChg>
      </pc:sldChg>
      <pc:sldChg chg="modSp">
        <pc:chgData name="KUEHN, DAGMAR NORIKO" userId="S::dagmar.kuehn@lhsystems.com::7cf04df8-dcca-4203-b18d-6eee424e89ee" providerId="AD" clId="Web-{1987F1FC-6408-9FC5-71AD-E708CA3BCF4F}" dt="2022-07-08T08:48:05.410" v="0" actId="14100"/>
        <pc:sldMkLst>
          <pc:docMk/>
          <pc:sldMk cId="950464966" sldId="343"/>
        </pc:sldMkLst>
        <pc:spChg chg="mod">
          <ac:chgData name="KUEHN, DAGMAR NORIKO" userId="S::dagmar.kuehn@lhsystems.com::7cf04df8-dcca-4203-b18d-6eee424e89ee" providerId="AD" clId="Web-{1987F1FC-6408-9FC5-71AD-E708CA3BCF4F}" dt="2022-07-08T08:48:05.410" v="0" actId="14100"/>
          <ac:spMkLst>
            <pc:docMk/>
            <pc:sldMk cId="950464966" sldId="343"/>
            <ac:spMk id="5" creationId="{00000000-0000-0000-0000-000000000000}"/>
          </ac:spMkLst>
        </pc:spChg>
      </pc:sldChg>
    </pc:docChg>
  </pc:docChgLst>
  <pc:docChgLst>
    <pc:chgData name="MARSH, WANDA" userId="S::wanda.marsh@lhsystems.com::da2e2486-98f2-49dd-b9f7-da72561c1b02" providerId="AD" clId="Web-{21CD4558-37C2-452F-877E-7F666EC58CCE}"/>
    <pc:docChg chg="addSld delSld modSld sldOrd modSection">
      <pc:chgData name="MARSH, WANDA" userId="S::wanda.marsh@lhsystems.com::da2e2486-98f2-49dd-b9f7-da72561c1b02" providerId="AD" clId="Web-{21CD4558-37C2-452F-877E-7F666EC58CCE}" dt="2022-07-12T08:19:48.479" v="88"/>
      <pc:docMkLst>
        <pc:docMk/>
      </pc:docMkLst>
      <pc:sldChg chg="modSp">
        <pc:chgData name="MARSH, WANDA" userId="S::wanda.marsh@lhsystems.com::da2e2486-98f2-49dd-b9f7-da72561c1b02" providerId="AD" clId="Web-{21CD4558-37C2-452F-877E-7F666EC58CCE}" dt="2022-07-12T08:08:58.098" v="13" actId="14100"/>
        <pc:sldMkLst>
          <pc:docMk/>
          <pc:sldMk cId="1836033922" sldId="298"/>
        </pc:sldMkLst>
        <pc:spChg chg="mod">
          <ac:chgData name="MARSH, WANDA" userId="S::wanda.marsh@lhsystems.com::da2e2486-98f2-49dd-b9f7-da72561c1b02" providerId="AD" clId="Web-{21CD4558-37C2-452F-877E-7F666EC58CCE}" dt="2022-07-12T08:08:58.098" v="13" actId="14100"/>
          <ac:spMkLst>
            <pc:docMk/>
            <pc:sldMk cId="1836033922" sldId="298"/>
            <ac:spMk id="8" creationId="{00000000-0000-0000-0000-000000000000}"/>
          </ac:spMkLst>
        </pc:spChg>
      </pc:sldChg>
      <pc:sldChg chg="ord">
        <pc:chgData name="MARSH, WANDA" userId="S::wanda.marsh@lhsystems.com::da2e2486-98f2-49dd-b9f7-da72561c1b02" providerId="AD" clId="Web-{21CD4558-37C2-452F-877E-7F666EC58CCE}" dt="2022-07-12T08:10:01.022" v="15"/>
        <pc:sldMkLst>
          <pc:docMk/>
          <pc:sldMk cId="950464966" sldId="343"/>
        </pc:sldMkLst>
      </pc:sldChg>
      <pc:sldChg chg="modSp del ord">
        <pc:chgData name="MARSH, WANDA" userId="S::wanda.marsh@lhsystems.com::da2e2486-98f2-49dd-b9f7-da72561c1b02" providerId="AD" clId="Web-{21CD4558-37C2-452F-877E-7F666EC58CCE}" dt="2022-07-12T08:19:14.868" v="85"/>
        <pc:sldMkLst>
          <pc:docMk/>
          <pc:sldMk cId="3205765724" sldId="346"/>
        </pc:sldMkLst>
        <pc:spChg chg="mod">
          <ac:chgData name="MARSH, WANDA" userId="S::wanda.marsh@lhsystems.com::da2e2486-98f2-49dd-b9f7-da72561c1b02" providerId="AD" clId="Web-{21CD4558-37C2-452F-877E-7F666EC58CCE}" dt="2022-07-12T08:08:43.879" v="10" actId="20577"/>
          <ac:spMkLst>
            <pc:docMk/>
            <pc:sldMk cId="3205765724" sldId="346"/>
            <ac:spMk id="3" creationId="{FF2EC64B-2C63-4161-ABF6-E0FCD8855C3C}"/>
          </ac:spMkLst>
        </pc:spChg>
      </pc:sldChg>
      <pc:sldChg chg="del">
        <pc:chgData name="MARSH, WANDA" userId="S::wanda.marsh@lhsystems.com::da2e2486-98f2-49dd-b9f7-da72561c1b02" providerId="AD" clId="Web-{21CD4558-37C2-452F-877E-7F666EC58CCE}" dt="2022-07-12T08:06:56.156" v="0"/>
        <pc:sldMkLst>
          <pc:docMk/>
          <pc:sldMk cId="3024609087" sldId="347"/>
        </pc:sldMkLst>
      </pc:sldChg>
      <pc:sldChg chg="delSp modSp add replId">
        <pc:chgData name="MARSH, WANDA" userId="S::wanda.marsh@lhsystems.com::da2e2486-98f2-49dd-b9f7-da72561c1b02" providerId="AD" clId="Web-{21CD4558-37C2-452F-877E-7F666EC58CCE}" dt="2022-07-12T08:18:58.040" v="84" actId="20577"/>
        <pc:sldMkLst>
          <pc:docMk/>
          <pc:sldMk cId="621620495" sldId="355"/>
        </pc:sldMkLst>
        <pc:spChg chg="del mod">
          <ac:chgData name="MARSH, WANDA" userId="S::wanda.marsh@lhsystems.com::da2e2486-98f2-49dd-b9f7-da72561c1b02" providerId="AD" clId="Web-{21CD4558-37C2-452F-877E-7F666EC58CCE}" dt="2022-07-12T08:11:01.930" v="23"/>
          <ac:spMkLst>
            <pc:docMk/>
            <pc:sldMk cId="621620495" sldId="355"/>
            <ac:spMk id="7" creationId="{51AD7297-5B97-7B76-F5F1-2D4A54B8AFFA}"/>
          </ac:spMkLst>
        </pc:spChg>
        <pc:spChg chg="del">
          <ac:chgData name="MARSH, WANDA" userId="S::wanda.marsh@lhsystems.com::da2e2486-98f2-49dd-b9f7-da72561c1b02" providerId="AD" clId="Web-{21CD4558-37C2-452F-877E-7F666EC58CCE}" dt="2022-07-12T08:11:02.946" v="24"/>
          <ac:spMkLst>
            <pc:docMk/>
            <pc:sldMk cId="621620495" sldId="355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1CD4558-37C2-452F-877E-7F666EC58CCE}" dt="2022-07-12T08:18:58.040" v="84" actId="20577"/>
          <ac:spMkLst>
            <pc:docMk/>
            <pc:sldMk cId="621620495" sldId="355"/>
            <ac:spMk id="10" creationId="{00000000-0000-0000-0000-000000000000}"/>
          </ac:spMkLst>
        </pc:spChg>
      </pc:sldChg>
      <pc:sldChg chg="add">
        <pc:chgData name="MARSH, WANDA" userId="S::wanda.marsh@lhsystems.com::da2e2486-98f2-49dd-b9f7-da72561c1b02" providerId="AD" clId="Web-{21CD4558-37C2-452F-877E-7F666EC58CCE}" dt="2022-07-12T08:19:48.479" v="88"/>
        <pc:sldMkLst>
          <pc:docMk/>
          <pc:sldMk cId="1893298240" sldId="356"/>
        </pc:sldMkLst>
      </pc:sldChg>
      <pc:sldChg chg="add del replId">
        <pc:chgData name="MARSH, WANDA" userId="S::wanda.marsh@lhsystems.com::da2e2486-98f2-49dd-b9f7-da72561c1b02" providerId="AD" clId="Web-{21CD4558-37C2-452F-877E-7F666EC58CCE}" dt="2022-07-12T08:19:39.245" v="87"/>
        <pc:sldMkLst>
          <pc:docMk/>
          <pc:sldMk cId="1943725417" sldId="356"/>
        </pc:sldMkLst>
      </pc:sldChg>
      <pc:sldMasterChg chg="addSldLayout">
        <pc:chgData name="MARSH, WANDA" userId="S::wanda.marsh@lhsystems.com::da2e2486-98f2-49dd-b9f7-da72561c1b02" providerId="AD" clId="Web-{21CD4558-37C2-452F-877E-7F666EC58CCE}" dt="2022-07-12T08:19:48.479" v="88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86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87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88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89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90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91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92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93"/>
          </pc:sldLayoutMkLst>
        </pc:sldLayoutChg>
      </pc:sldMasterChg>
    </pc:docChg>
  </pc:docChgLst>
  <pc:docChgLst>
    <pc:chgData name="MARSH, WANDA" userId="S::wanda.marsh@lhsystems.com::da2e2486-98f2-49dd-b9f7-da72561c1b02" providerId="AD" clId="Web-{2C759B57-AC6E-4306-9D85-AC84A9DDBF68}"/>
    <pc:docChg chg="addSld modSld sldOrd modSection">
      <pc:chgData name="MARSH, WANDA" userId="S::wanda.marsh@lhsystems.com::da2e2486-98f2-49dd-b9f7-da72561c1b02" providerId="AD" clId="Web-{2C759B57-AC6E-4306-9D85-AC84A9DDBF68}" dt="2022-07-08T11:36:09.754" v="29"/>
      <pc:docMkLst>
        <pc:docMk/>
      </pc:docMkLst>
      <pc:sldChg chg="addSp delSp modSp ord">
        <pc:chgData name="MARSH, WANDA" userId="S::wanda.marsh@lhsystems.com::da2e2486-98f2-49dd-b9f7-da72561c1b02" providerId="AD" clId="Web-{2C759B57-AC6E-4306-9D85-AC84A9DDBF68}" dt="2022-07-08T11:36:09.754" v="29"/>
        <pc:sldMkLst>
          <pc:docMk/>
          <pc:sldMk cId="1836033922" sldId="298"/>
        </pc:sldMkLst>
        <pc:spChg chg="add del mod">
          <ac:chgData name="MARSH, WANDA" userId="S::wanda.marsh@lhsystems.com::da2e2486-98f2-49dd-b9f7-da72561c1b02" providerId="AD" clId="Web-{2C759B57-AC6E-4306-9D85-AC84A9DDBF68}" dt="2022-07-08T11:35:32.894" v="24"/>
          <ac:spMkLst>
            <pc:docMk/>
            <pc:sldMk cId="1836033922" sldId="298"/>
            <ac:spMk id="7" creationId="{CBFD8581-FFE7-F2E3-C54F-14D109C15E22}"/>
          </ac:spMkLst>
        </pc:spChg>
        <pc:spChg chg="del">
          <ac:chgData name="MARSH, WANDA" userId="S::wanda.marsh@lhsystems.com::da2e2486-98f2-49dd-b9f7-da72561c1b02" providerId="AD" clId="Web-{2C759B57-AC6E-4306-9D85-AC84A9DDBF68}" dt="2022-07-08T11:35:29.159" v="23"/>
          <ac:spMkLst>
            <pc:docMk/>
            <pc:sldMk cId="1836033922" sldId="298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C759B57-AC6E-4306-9D85-AC84A9DDBF68}" dt="2022-07-08T11:35:52.379" v="28" actId="14100"/>
          <ac:spMkLst>
            <pc:docMk/>
            <pc:sldMk cId="1836033922" sldId="298"/>
            <ac:spMk id="10" creationId="{00000000-0000-0000-0000-000000000000}"/>
          </ac:spMkLst>
        </pc:spChg>
      </pc:sldChg>
      <pc:sldChg chg="add replId">
        <pc:chgData name="MARSH, WANDA" userId="S::wanda.marsh@lhsystems.com::da2e2486-98f2-49dd-b9f7-da72561c1b02" providerId="AD" clId="Web-{2C759B57-AC6E-4306-9D85-AC84A9DDBF68}" dt="2022-07-08T11:34:57.283" v="0"/>
        <pc:sldMkLst>
          <pc:docMk/>
          <pc:sldMk cId="2157075244" sldId="351"/>
        </pc:sldMkLst>
      </pc:sldChg>
    </pc:docChg>
  </pc:docChgLst>
  <pc:docChgLst>
    <pc:chgData name="MARSH, WANDA" userId="S::wanda.marsh@lhsystems.com::da2e2486-98f2-49dd-b9f7-da72561c1b02" providerId="AD" clId="Web-{180EE1D2-C45A-4579-80F0-C4BA900C6FCF}"/>
    <pc:docChg chg="addSld delSld modSld sldOrd modSection">
      <pc:chgData name="MARSH, WANDA" userId="S::wanda.marsh@lhsystems.com::da2e2486-98f2-49dd-b9f7-da72561c1b02" providerId="AD" clId="Web-{180EE1D2-C45A-4579-80F0-C4BA900C6FCF}" dt="2022-07-08T12:04:51.888" v="57"/>
      <pc:docMkLst>
        <pc:docMk/>
      </pc:docMkLst>
      <pc:sldChg chg="addSp modSp">
        <pc:chgData name="MARSH, WANDA" userId="S::wanda.marsh@lhsystems.com::da2e2486-98f2-49dd-b9f7-da72561c1b02" providerId="AD" clId="Web-{180EE1D2-C45A-4579-80F0-C4BA900C6FCF}" dt="2022-07-08T11:51:47.391" v="22" actId="1076"/>
        <pc:sldMkLst>
          <pc:docMk/>
          <pc:sldMk cId="1836033922" sldId="298"/>
        </pc:sldMkLst>
        <pc:spChg chg="add mod">
          <ac:chgData name="MARSH, WANDA" userId="S::wanda.marsh@lhsystems.com::da2e2486-98f2-49dd-b9f7-da72561c1b02" providerId="AD" clId="Web-{180EE1D2-C45A-4579-80F0-C4BA900C6FCF}" dt="2022-07-08T11:51:47.391" v="22" actId="1076"/>
          <ac:spMkLst>
            <pc:docMk/>
            <pc:sldMk cId="1836033922" sldId="298"/>
            <ac:spMk id="7" creationId="{51AD7297-5B97-7B76-F5F1-2D4A54B8AFFA}"/>
          </ac:spMkLst>
        </pc:spChg>
        <pc:spChg chg="mod">
          <ac:chgData name="MARSH, WANDA" userId="S::wanda.marsh@lhsystems.com::da2e2486-98f2-49dd-b9f7-da72561c1b02" providerId="AD" clId="Web-{180EE1D2-C45A-4579-80F0-C4BA900C6FCF}" dt="2022-07-08T11:50:08.184" v="7" actId="20577"/>
          <ac:spMkLst>
            <pc:docMk/>
            <pc:sldMk cId="1836033922" sldId="298"/>
            <ac:spMk id="10" creationId="{00000000-0000-0000-0000-000000000000}"/>
          </ac:spMkLst>
        </pc:spChg>
      </pc:sldChg>
      <pc:sldChg chg="del">
        <pc:chgData name="MARSH, WANDA" userId="S::wanda.marsh@lhsystems.com::da2e2486-98f2-49dd-b9f7-da72561c1b02" providerId="AD" clId="Web-{180EE1D2-C45A-4579-80F0-C4BA900C6FCF}" dt="2022-07-08T12:03:51.917" v="51"/>
        <pc:sldMkLst>
          <pc:docMk/>
          <pc:sldMk cId="3195511404" sldId="340"/>
        </pc:sldMkLst>
      </pc:sldChg>
      <pc:sldChg chg="del">
        <pc:chgData name="MARSH, WANDA" userId="S::wanda.marsh@lhsystems.com::da2e2486-98f2-49dd-b9f7-da72561c1b02" providerId="AD" clId="Web-{180EE1D2-C45A-4579-80F0-C4BA900C6FCF}" dt="2022-07-08T11:53:19.879" v="27"/>
        <pc:sldMkLst>
          <pc:docMk/>
          <pc:sldMk cId="2929053372" sldId="350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2:36.914" v="41"/>
        <pc:sldMkLst>
          <pc:docMk/>
          <pc:sldMk cId="2369479403" sldId="352"/>
        </pc:sldMkLst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2" creationId="{E798C815-B310-AA68-C23C-8D02FB07BDEF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3" creationId="{BAD0FA84-82B0-1C8C-208A-0FCA0EAB19D3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4" creationId="{CE7881ED-BE8B-B8D4-EB02-BCBA58116225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5:41.853" v="36"/>
          <ac:spMkLst>
            <pc:docMk/>
            <pc:sldMk cId="2369479403" sldId="352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6" creationId="{4840FCCF-CE4E-0835-2E8B-90A06E4D45A2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7" creationId="{D3D12C02-8423-C524-EF96-7F770033653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8" creationId="{7E6EDB88-9952-B0EA-D226-E96A7E712E09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3:28.566" v="29"/>
        <pc:sldMkLst>
          <pc:docMk/>
          <pc:sldMk cId="1255911155" sldId="353"/>
        </pc:sldMkLst>
      </pc:sldChg>
      <pc:sldChg chg="add del replId">
        <pc:chgData name="MARSH, WANDA" userId="S::wanda.marsh@lhsystems.com::da2e2486-98f2-49dd-b9f7-da72561c1b02" providerId="AD" clId="Web-{180EE1D2-C45A-4579-80F0-C4BA900C6FCF}" dt="2022-07-08T12:01:53.522" v="39"/>
        <pc:sldMkLst>
          <pc:docMk/>
          <pc:sldMk cId="293034562" sldId="354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4:51.888" v="57"/>
        <pc:sldMkLst>
          <pc:docMk/>
          <pc:sldMk cId="3822467622" sldId="354"/>
        </pc:sldMkLst>
        <pc:spChg chg="mod ord">
          <ac:chgData name="MARSH, WANDA" userId="S::wanda.marsh@lhsystems.com::da2e2486-98f2-49dd-b9f7-da72561c1b02" providerId="AD" clId="Web-{180EE1D2-C45A-4579-80F0-C4BA900C6FCF}" dt="2022-07-08T12:02:49.165" v="43"/>
          <ac:spMkLst>
            <pc:docMk/>
            <pc:sldMk cId="3822467622" sldId="354"/>
            <ac:spMk id="2" creationId="{E798C815-B310-AA68-C23C-8D02FB07BDEF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5.447" v="49"/>
          <ac:spMkLst>
            <pc:docMk/>
            <pc:sldMk cId="3822467622" sldId="354"/>
            <ac:spMk id="3" creationId="{BAD0FA84-82B0-1C8C-208A-0FCA0EAB19D3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7.229" v="50"/>
          <ac:spMkLst>
            <pc:docMk/>
            <pc:sldMk cId="3822467622" sldId="354"/>
            <ac:spMk id="4" creationId="{CE7881ED-BE8B-B8D4-EB02-BCBA58116225}"/>
          </ac:spMkLst>
        </pc:spChg>
        <pc:spChg chg="del">
          <ac:chgData name="MARSH, WANDA" userId="S::wanda.marsh@lhsystems.com::da2e2486-98f2-49dd-b9f7-da72561c1b02" providerId="AD" clId="Web-{180EE1D2-C45A-4579-80F0-C4BA900C6FCF}" dt="2022-07-08T12:03:20.385" v="47"/>
          <ac:spMkLst>
            <pc:docMk/>
            <pc:sldMk cId="3822467622" sldId="354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53.946" v="44"/>
          <ac:spMkLst>
            <pc:docMk/>
            <pc:sldMk cId="3822467622" sldId="354"/>
            <ac:spMk id="6" creationId="{77ED2609-6B82-131C-4BD3-F6BBF592636F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4:01.183" v="52"/>
          <ac:spMkLst>
            <pc:docMk/>
            <pc:sldMk cId="3822467622" sldId="354"/>
            <ac:spMk id="7" creationId="{0269C149-8842-9189-087F-BA5587ADBB78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3:03.462" v="45"/>
          <ac:spMkLst>
            <pc:docMk/>
            <pc:sldMk cId="3822467622" sldId="354"/>
            <ac:spMk id="8" creationId="{C0C82FE0-F97C-6CCB-699C-0CC10689B992}"/>
          </ac:spMkLst>
        </pc:spChg>
        <pc:spChg chg="add del mod">
          <ac:chgData name="MARSH, WANDA" userId="S::wanda.marsh@lhsystems.com::da2e2486-98f2-49dd-b9f7-da72561c1b02" providerId="AD" clId="Web-{180EE1D2-C45A-4579-80F0-C4BA900C6FCF}" dt="2022-07-08T12:04:13.652" v="56"/>
          <ac:spMkLst>
            <pc:docMk/>
            <pc:sldMk cId="3822467622" sldId="354"/>
            <ac:spMk id="9" creationId="{336A421F-DE85-4B75-E0AA-021A339F2302}"/>
          </ac:spMkLst>
        </pc:spChg>
        <pc:spChg chg="add">
          <ac:chgData name="MARSH, WANDA" userId="S::wanda.marsh@lhsystems.com::da2e2486-98f2-49dd-b9f7-da72561c1b02" providerId="AD" clId="Web-{180EE1D2-C45A-4579-80F0-C4BA900C6FCF}" dt="2022-07-08T12:04:51.888" v="57"/>
          <ac:spMkLst>
            <pc:docMk/>
            <pc:sldMk cId="3822467622" sldId="354"/>
            <ac:spMk id="10" creationId="{934E9D53-5854-FD54-A24C-C240FDC1ED2E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2:01:31.568" v="38"/>
        <pc:sldMkLst>
          <pc:docMk/>
          <pc:sldMk cId="229235632" sldId="355"/>
        </pc:sldMkLst>
      </pc:sldChg>
      <pc:sldChg chg="addSp add del">
        <pc:chgData name="MARSH, WANDA" userId="S::wanda.marsh@lhsystems.com::da2e2486-98f2-49dd-b9f7-da72561c1b02" providerId="AD" clId="Web-{180EE1D2-C45A-4579-80F0-C4BA900C6FCF}" dt="2022-07-08T11:54:44.491" v="35"/>
        <pc:sldMkLst>
          <pc:docMk/>
          <pc:sldMk cId="2286776907" sldId="355"/>
        </pc:sldMkLst>
        <pc:spChg chg="add">
          <ac:chgData name="MARSH, WANDA" userId="S::wanda.marsh@lhsystems.com::da2e2486-98f2-49dd-b9f7-da72561c1b02" providerId="AD" clId="Web-{180EE1D2-C45A-4579-80F0-C4BA900C6FCF}" dt="2022-07-08T11:54:32.788" v="33"/>
          <ac:spMkLst>
            <pc:docMk/>
            <pc:sldMk cId="2286776907" sldId="355"/>
            <ac:spMk id="5" creationId="{48A37866-FBCB-2256-73C6-A95527648586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4:35.225" v="34"/>
          <ac:spMkLst>
            <pc:docMk/>
            <pc:sldMk cId="2286776907" sldId="355"/>
            <ac:spMk id="6" creationId="{31FEDC2A-2622-825E-BC73-B05095D544D6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4:12.209" v="31"/>
        <pc:sldMkLst>
          <pc:docMk/>
          <pc:sldMk cId="3286649876" sldId="355"/>
        </pc:sldMkLst>
      </pc:sldChg>
      <pc:sldMasterChg chg="addSldLayout">
        <pc:chgData name="MARSH, WANDA" userId="S::wanda.marsh@lhsystems.com::da2e2486-98f2-49dd-b9f7-da72561c1b02" providerId="AD" clId="Web-{180EE1D2-C45A-4579-80F0-C4BA900C6FCF}" dt="2022-07-08T11:54:20.818" v="32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3270475851" sldId="2147483782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271464520" sldId="2147483783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1421432207" sldId="2147483784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008744914" sldId="2147483785"/>
          </pc:sldLayoutMkLst>
        </pc:sldLayoutChg>
      </pc:sldMasterChg>
    </pc:docChg>
  </pc:docChgLst>
  <pc:docChgLst>
    <pc:chgData name="VERES, JANOS" userId="S::janos.veres@lhsystems.com::c10494d3-c570-44be-b9ee-e8ca80db21a2" providerId="AD" clId="Web-{1D269972-A7AD-4520-A8EB-E356448074D7}"/>
    <pc:docChg chg="modSld">
      <pc:chgData name="VERES, JANOS" userId="S::janos.veres@lhsystems.com::c10494d3-c570-44be-b9ee-e8ca80db21a2" providerId="AD" clId="Web-{1D269972-A7AD-4520-A8EB-E356448074D7}" dt="2022-07-12T14:27:19.944" v="0"/>
      <pc:docMkLst>
        <pc:docMk/>
      </pc:docMkLst>
      <pc:sldChg chg="delSp">
        <pc:chgData name="VERES, JANOS" userId="S::janos.veres@lhsystems.com::c10494d3-c570-44be-b9ee-e8ca80db21a2" providerId="AD" clId="Web-{1D269972-A7AD-4520-A8EB-E356448074D7}" dt="2022-07-12T14:27:19.944" v="0"/>
        <pc:sldMkLst>
          <pc:docMk/>
          <pc:sldMk cId="3822467622" sldId="354"/>
        </pc:sldMkLst>
        <pc:spChg chg="del">
          <ac:chgData name="VERES, JANOS" userId="S::janos.veres@lhsystems.com::c10494d3-c570-44be-b9ee-e8ca80db21a2" providerId="AD" clId="Web-{1D269972-A7AD-4520-A8EB-E356448074D7}" dt="2022-07-12T14:27:19.944" v="0"/>
          <ac:spMkLst>
            <pc:docMk/>
            <pc:sldMk cId="3822467622" sldId="354"/>
            <ac:spMk id="10" creationId="{934E9D53-5854-FD54-A24C-C240FDC1ED2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Session</a:t>
            </a:r>
            <a:r>
              <a:rPr lang="de-DE" baseline="0" dirty="0" smtClean="0"/>
              <a:t> is recorded</a:t>
            </a:r>
          </a:p>
          <a:p>
            <a:r>
              <a:rPr lang="de-DE" baseline="0" dirty="0" smtClean="0"/>
              <a:t>- Audience is muted</a:t>
            </a:r>
          </a:p>
          <a:p>
            <a:r>
              <a:rPr lang="de-DE" baseline="0" dirty="0" smtClean="0"/>
              <a:t>- Questions in the chat</a:t>
            </a:r>
          </a:p>
          <a:p>
            <a:r>
              <a:rPr lang="de-DE" baseline="0" dirty="0" smtClean="0"/>
              <a:t>- Q&amp;A at the e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235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1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701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the </a:t>
            </a:r>
            <a:r>
              <a:rPr lang="en-US" dirty="0" smtClean="0"/>
              <a:t>audience –</a:t>
            </a:r>
            <a:r>
              <a:rPr lang="en-US" baseline="0" dirty="0" smtClean="0"/>
              <a:t> show of hands</a:t>
            </a:r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9208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scribe briefly</a:t>
            </a:r>
            <a:r>
              <a:rPr lang="de-DE" baseline="0" dirty="0" smtClean="0"/>
              <a:t> what we see</a:t>
            </a:r>
          </a:p>
          <a:p>
            <a:r>
              <a:rPr lang="de-DE" baseline="0" dirty="0" smtClean="0"/>
              <a:t>Connect with the Application sli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507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7976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asons I like this diagram</a:t>
            </a:r>
          </a:p>
          <a:p>
            <a:r>
              <a:rPr lang="de-DE" dirty="0" smtClean="0"/>
              <a:t>Show</a:t>
            </a:r>
            <a:r>
              <a:rPr lang="de-DE" baseline="0" dirty="0" smtClean="0"/>
              <a:t> the commonalities between all diagrams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710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931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2458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871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03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663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tay</a:t>
            </a:r>
            <a:r>
              <a:rPr lang="de-DE" baseline="0" dirty="0" smtClean="0"/>
              <a:t> here for a few second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3740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he</a:t>
            </a:r>
            <a:r>
              <a:rPr lang="de-DE" baseline="0" dirty="0" smtClean="0"/>
              <a:t> code and the presentation are on my github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9647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96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5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59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hy this title ?</a:t>
            </a:r>
          </a:p>
          <a:p>
            <a:endParaRPr lang="de-DE" dirty="0" smtClean="0"/>
          </a:p>
          <a:p>
            <a:r>
              <a:rPr lang="de-DE" dirty="0" smtClean="0"/>
              <a:t>- </a:t>
            </a:r>
            <a:r>
              <a:rPr lang="de-DE" dirty="0" smtClean="0"/>
              <a:t>Agility</a:t>
            </a:r>
            <a:r>
              <a:rPr lang="de-DE" baseline="0" dirty="0" smtClean="0"/>
              <a:t> across the organisation</a:t>
            </a:r>
          </a:p>
          <a:p>
            <a:r>
              <a:rPr lang="de-DE" baseline="0" dirty="0" smtClean="0"/>
              <a:t>- Sales vs Production</a:t>
            </a:r>
          </a:p>
          <a:p>
            <a:pPr marL="0" indent="0">
              <a:buFontTx/>
              <a:buNone/>
            </a:pPr>
            <a:r>
              <a:rPr lang="de-DE" baseline="0" dirty="0" smtClean="0"/>
              <a:t>- Agility </a:t>
            </a:r>
            <a:r>
              <a:rPr lang="de-DE" baseline="0" dirty="0" smtClean="0"/>
              <a:t>in the code </a:t>
            </a:r>
            <a:r>
              <a:rPr lang="de-DE" baseline="0" dirty="0" smtClean="0"/>
              <a:t>base</a:t>
            </a:r>
          </a:p>
          <a:p>
            <a:pPr marL="0" indent="0">
              <a:buFontTx/>
              <a:buNone/>
            </a:pPr>
            <a:r>
              <a:rPr lang="de-DE" baseline="0" dirty="0" smtClean="0"/>
              <a:t>- Did not want to use any of the known achitecture styles name</a:t>
            </a:r>
          </a:p>
          <a:p>
            <a:pPr marL="285750" indent="-285750">
              <a:buFontTx/>
              <a:buChar char="-"/>
            </a:pPr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15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 lot of organisations</a:t>
            </a:r>
            <a:r>
              <a:rPr lang="de-DE" baseline="0" dirty="0" smtClean="0"/>
              <a:t>/teams use Scrum but they are not truely agi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951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en we say application we usually mean what th</a:t>
            </a:r>
            <a:r>
              <a:rPr lang="en-US" baseline="0" dirty="0" smtClean="0"/>
              <a:t>e user sees </a:t>
            </a:r>
          </a:p>
          <a:p>
            <a:r>
              <a:rPr lang="en-US" baseline="0" dirty="0" smtClean="0"/>
              <a:t>The standard modern web app is 2 application </a:t>
            </a:r>
          </a:p>
          <a:p>
            <a:r>
              <a:rPr lang="en-US" baseline="0" dirty="0" smtClean="0"/>
              <a:t>Client and ser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59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ckend</a:t>
            </a:r>
            <a:r>
              <a:rPr lang="en-US" baseline="0" dirty="0" smtClean="0"/>
              <a:t> -&gt; C#/Java …</a:t>
            </a:r>
          </a:p>
          <a:p>
            <a:r>
              <a:rPr lang="en-US" baseline="0" dirty="0" smtClean="0"/>
              <a:t>Frontend -&gt; Angular/React…</a:t>
            </a:r>
          </a:p>
          <a:p>
            <a:r>
              <a:rPr lang="en-US" baseline="0" dirty="0" smtClean="0"/>
              <a:t>Seems to me the we mean … client side/server side</a:t>
            </a:r>
          </a:p>
          <a:p>
            <a:endParaRPr lang="en-US" dirty="0" smtClean="0"/>
          </a:p>
          <a:p>
            <a:r>
              <a:rPr lang="en-US" dirty="0" smtClean="0"/>
              <a:t>Front</a:t>
            </a:r>
            <a:r>
              <a:rPr lang="en-US" baseline="0" dirty="0" smtClean="0"/>
              <a:t> end is the UI and backend is the logic behind 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18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baseline="0" dirty="0" smtClean="0"/>
          </a:p>
          <a:p>
            <a:r>
              <a:rPr lang="de-DE" baseline="0" dirty="0" smtClean="0"/>
              <a:t>Case stud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841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538989"/>
            <a:ext cx="8268026" cy="1527533"/>
          </a:xfrm>
        </p:spPr>
        <p:txBody>
          <a:bodyPr anchor="b"/>
          <a:lstStyle>
            <a:lvl1pPr>
              <a:defRPr sz="10000"/>
            </a:lvl1pPr>
          </a:lstStyle>
          <a:p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 baseline="0"/>
            </a:lvl1pPr>
          </a:lstStyle>
          <a:p>
            <a:pPr lvl="0"/>
            <a:r>
              <a:rPr lang="de-DE"/>
              <a:t>interna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G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" y="3176"/>
            <a:ext cx="9143526" cy="51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3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4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1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5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3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27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 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4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3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914400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Insert image</a:t>
            </a:r>
            <a:br>
              <a:rPr lang="de-DE"/>
            </a:br>
            <a:r>
              <a:rPr lang="de-DE"/>
              <a:t/>
            </a:r>
            <a:br>
              <a:rPr lang="de-DE"/>
            </a:br>
            <a:r>
              <a:rPr lang="en-GB"/>
              <a:t>If required, use “Reset slide” command to restore layer order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337" y="1131888"/>
            <a:ext cx="414020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91661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 and content on imag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ext color depending on image content. Switch between blue and white possible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void inflationary usage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59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522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16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 </a:t>
            </a:r>
            <a: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th imag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4645225" y="1131888"/>
            <a:ext cx="4140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9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800" b="1" i="0" baseline="0">
              <a:solidFill>
                <a:schemeClr val="tx1"/>
              </a:solidFill>
              <a:latin typeface="Lufthansa Office Head" panose="020B0404040000000004" pitchFamily="34" charset="0"/>
              <a:ea typeface="+mn-ea"/>
              <a:cs typeface="+mn-cs"/>
              <a:sym typeface="Lufthansa Office Head" panose="020B04040400000000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776678"/>
            <a:ext cx="4126239" cy="1273843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72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/>
            </a:lvl1pPr>
          </a:lstStyle>
          <a:p>
            <a:pPr lvl="0"/>
            <a:r>
              <a:rPr lang="de-DE"/>
              <a:t>Labe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H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5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72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1144836" y="288926"/>
            <a:ext cx="107316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Image only 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9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80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Final slide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ter your contact details her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97274" y="2181429"/>
            <a:ext cx="371856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Your presenter was: &lt;name&gt;</a:t>
            </a:r>
            <a:br>
              <a:rPr lang="en-US"/>
            </a:br>
            <a:r>
              <a:rPr lang="en-US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604560" y="1223487"/>
            <a:ext cx="6096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4800" baseline="0" noProof="0">
                <a:solidFill>
                  <a:schemeClr val="accent5"/>
                </a:solidFill>
              </a:rPr>
              <a:t>→</a:t>
            </a:r>
            <a:endParaRPr lang="de-DE" sz="480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097274" y="1418654"/>
            <a:ext cx="2838994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2000" baseline="0">
                <a:solidFill>
                  <a:schemeClr val="tx2"/>
                </a:solidFill>
              </a:rPr>
              <a:t>Contact</a:t>
            </a:r>
            <a:endParaRPr lang="de-DE" sz="200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1554782" y="1130481"/>
            <a:ext cx="1620000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Portrait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2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9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9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840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f required, use “Reset slide” command to restore layer order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3379370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1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Adjust text frame width and optimize vertical position for image content.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f required yellow arrow, not bold, as final character in the text box</a:t>
            </a:r>
            <a:r>
              <a:rPr lang="en-US" sz="1000" baseline="0" noProof="0">
                <a:solidFill>
                  <a:schemeClr val="accent5"/>
                </a:solidFill>
              </a:rPr>
              <a:t>→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0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86634" y="3365060"/>
            <a:ext cx="6357322" cy="934006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1000" baseline="0"/>
            </a:lvl2pPr>
          </a:lstStyle>
          <a:p>
            <a:pPr lvl="0"/>
            <a:r>
              <a:rPr lang="de-DE"/>
              <a:t>Enter titl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59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2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7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9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51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0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22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3</a:t>
            </a: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eye-catching text</a:t>
            </a:r>
          </a:p>
          <a:p>
            <a:endParaRPr lang="de-DE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177"/>
            <a:ext cx="8497887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96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96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de-DE"/>
              <a:t>Headline </a:t>
            </a:r>
          </a:p>
          <a:p>
            <a:pPr lvl="1"/>
            <a:r>
              <a:rPr lang="de-DE"/>
              <a:t>with highlight</a:t>
            </a:r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3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75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03212"/>
            <a:ext cx="8497887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50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/>
              <a:t>Edit title master format by clicking</a:t>
            </a:r>
            <a:r>
              <a:rPr lang="de-DE"/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/>
              <a:t>Format </a:t>
            </a:r>
            <a:r>
              <a:rPr lang="de-DE" err="1"/>
              <a:t>highlighting</a:t>
            </a:r>
            <a:r>
              <a:rPr lang="de-DE"/>
              <a:t> yellow.</a:t>
            </a:r>
            <a:endParaRPr lang="en-US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7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8935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think-cell Folie" r:id="rId41" imgW="306" imgH="306" progId="TCLayout.ActiveDocument.1">
                  <p:embed/>
                </p:oleObj>
              </mc:Choice>
              <mc:Fallback>
                <p:oleObj name="think-cell Folie" r:id="rId41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4551364"/>
            <a:ext cx="9144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87338" y="303212"/>
            <a:ext cx="8497886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87337" y="1131888"/>
            <a:ext cx="8497887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/>
              <a:t>Edit text master format</a:t>
            </a:r>
          </a:p>
          <a:p>
            <a:pPr lvl="1"/>
            <a:r>
              <a:rPr lang="en-US" baseline="0" noProof="0"/>
              <a:t>Second level</a:t>
            </a:r>
          </a:p>
          <a:p>
            <a:pPr lvl="2"/>
            <a:r>
              <a:rPr lang="en-US" baseline="0" noProof="0"/>
              <a:t>Third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3"/>
            <a:r>
              <a:rPr lang="en-US" baseline="0" noProof="0"/>
              <a:t>Four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4"/>
            <a:r>
              <a:rPr lang="en-US" baseline="0" noProof="0"/>
              <a:t>Fif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07299" y="-306362"/>
            <a:ext cx="9758597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8"/>
          <p:cNvSpPr txBox="1">
            <a:spLocks/>
          </p:cNvSpPr>
          <p:nvPr userDrawn="1"/>
        </p:nvSpPr>
        <p:spPr>
          <a:xfrm>
            <a:off x="2609625" y="4778880"/>
            <a:ext cx="1448891" cy="120674"/>
          </a:xfrm>
          <a:prstGeom prst="rect">
            <a:avLst/>
          </a:prstGeom>
        </p:spPr>
        <p:txBody>
          <a:bodyPr wrap="square" lIns="144000" tIns="0" bIns="0">
            <a:sp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8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0"/>
              <a:t>Internal</a:t>
            </a:r>
            <a:endParaRPr lang="en-US"/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2609625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398520" y="5216089"/>
            <a:ext cx="2887100" cy="509453"/>
            <a:chOff x="-398520" y="5216089"/>
            <a:chExt cx="2887100" cy="509453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07791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="1" baseline="0" noProof="0">
                  <a:solidFill>
                    <a:schemeClr val="tx1"/>
                  </a:solidFill>
                </a:rPr>
                <a:t>“header and footer” </a:t>
              </a:r>
              <a:r>
                <a:rPr lang="en-US" sz="1000" b="0" baseline="0" noProof="0">
                  <a:solidFill>
                    <a:schemeClr val="tx1"/>
                  </a:solidFill>
                </a:rPr>
                <a:t>dialog</a:t>
              </a:r>
              <a:r>
                <a:rPr lang="en-US" sz="1000" baseline="0" noProof="0">
                  <a:solidFill>
                    <a:schemeClr val="tx1"/>
                  </a:solidFill>
                </a:rPr>
                <a:t>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Insert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2653913" y="5214398"/>
            <a:ext cx="2647255" cy="511144"/>
            <a:chOff x="2653913" y="5214398"/>
            <a:chExt cx="2647255" cy="511144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701800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label on </a:t>
              </a:r>
              <a:r>
                <a:rPr lang="en-US" sz="1000" b="1" baseline="0" noProof="0">
                  <a:solidFill>
                    <a:schemeClr val="tx1"/>
                  </a:solidFill>
                </a:rPr>
                <a:t>slide master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aseline="0" noProof="0">
                  <a:solidFill>
                    <a:schemeClr val="tx1"/>
                  </a:solidFill>
                </a:rPr>
                <a:t>at top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View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7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26" r:id="rId3"/>
    <p:sldLayoutId id="2147483777" r:id="rId4"/>
    <p:sldLayoutId id="2147483778" r:id="rId5"/>
    <p:sldLayoutId id="2147483775" r:id="rId6"/>
    <p:sldLayoutId id="2147483776" r:id="rId7"/>
    <p:sldLayoutId id="2147483730" r:id="rId8"/>
    <p:sldLayoutId id="2147483739" r:id="rId9"/>
    <p:sldLayoutId id="2147483779" r:id="rId10"/>
    <p:sldLayoutId id="2147483780" r:id="rId11"/>
    <p:sldLayoutId id="2147483781" r:id="rId12"/>
    <p:sldLayoutId id="2147483742" r:id="rId13"/>
    <p:sldLayoutId id="2147483764" r:id="rId14"/>
    <p:sldLayoutId id="2147483743" r:id="rId15"/>
    <p:sldLayoutId id="2147483725" r:id="rId16"/>
    <p:sldLayoutId id="2147483757" r:id="rId17"/>
    <p:sldLayoutId id="2147483753" r:id="rId18"/>
    <p:sldLayoutId id="2147483754" r:id="rId19"/>
    <p:sldLayoutId id="2147483738" r:id="rId20"/>
    <p:sldLayoutId id="2147483759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82" r:id="rId30"/>
    <p:sldLayoutId id="2147483783" r:id="rId31"/>
    <p:sldLayoutId id="2147483784" r:id="rId32"/>
    <p:sldLayoutId id="2147483785" r:id="rId33"/>
    <p:sldLayoutId id="2147483744" r:id="rId34"/>
    <p:sldLayoutId id="2147483746" r:id="rId35"/>
    <p:sldLayoutId id="2147483756" r:id="rId36"/>
    <p:sldLayoutId id="21474837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89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91" userDrawn="1">
          <p15:clr>
            <a:srgbClr val="F26B43"/>
          </p15:clr>
        </p15:guide>
        <p15:guide id="6" orient="horz" pos="554" userDrawn="1">
          <p15:clr>
            <a:srgbClr val="F26B43"/>
          </p15:clr>
        </p15:guide>
        <p15:guide id="7" orient="horz" pos="713" userDrawn="1">
          <p15:clr>
            <a:srgbClr val="F26B43"/>
          </p15:clr>
        </p15:guide>
        <p15:guide id="8" orient="horz" pos="2867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.jpg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9.jpg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2.jpg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3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4.jpg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6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29.jpe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ag1830" TargetMode="External"/><Relationship Id="rId3" Type="http://schemas.openxmlformats.org/officeDocument/2006/relationships/slideLayout" Target="../slideLayouts/slideLayout21.xml"/><Relationship Id="rId7" Type="http://schemas.openxmlformats.org/officeDocument/2006/relationships/hyperlink" Target="mailto:evangelos.barmpas@lhsystems.com" TargetMode="Externa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3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67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7338" y="303212"/>
            <a:ext cx="8497886" cy="560537"/>
          </a:xfrm>
        </p:spPr>
        <p:txBody>
          <a:bodyPr/>
          <a:lstStyle/>
          <a:p>
            <a:r>
              <a:rPr lang="en-US" dirty="0" smtClean="0"/>
              <a:t>Common Misconception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043125"/>
            <a:ext cx="4306308" cy="2481075"/>
          </a:xfrm>
        </p:spPr>
        <p:txBody>
          <a:bodyPr/>
          <a:lstStyle/>
          <a:p>
            <a:pPr algn="ctr"/>
            <a:r>
              <a:rPr lang="en-US" sz="4800" dirty="0">
                <a:solidFill>
                  <a:srgbClr val="05164D"/>
                </a:solidFill>
              </a:rPr>
              <a:t>Front-end</a:t>
            </a:r>
            <a:r>
              <a:rPr lang="en-US" sz="4800" dirty="0" smtClean="0">
                <a:solidFill>
                  <a:srgbClr val="05164D"/>
                </a:solidFill>
              </a:rPr>
              <a:t> </a:t>
            </a:r>
          </a:p>
          <a:p>
            <a:pPr algn="ctr"/>
            <a:r>
              <a:rPr lang="en-US" sz="4800" dirty="0" smtClean="0">
                <a:solidFill>
                  <a:schemeClr val="accent5"/>
                </a:solidFill>
              </a:rPr>
              <a:t>vs </a:t>
            </a:r>
          </a:p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Client-side</a:t>
            </a:r>
            <a:endParaRPr lang="en-US" sz="4800" dirty="0">
              <a:solidFill>
                <a:srgbClr val="05164D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89813"/>
          </a:xfrm>
        </p:spPr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89813"/>
          </a:xfrm>
        </p:spPr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89813"/>
          </a:xfrm>
        </p:spPr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10</a:t>
            </a:fld>
            <a:endParaRPr lang="de-DE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4593645" y="1043125"/>
            <a:ext cx="4191579" cy="248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Back-end</a:t>
            </a:r>
          </a:p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 </a:t>
            </a:r>
            <a:r>
              <a:rPr lang="en-US" sz="4800" dirty="0" smtClean="0">
                <a:solidFill>
                  <a:schemeClr val="accent5"/>
                </a:solidFill>
              </a:rPr>
              <a:t>vs</a:t>
            </a:r>
          </a:p>
          <a:p>
            <a:pPr algn="ctr"/>
            <a:r>
              <a:rPr lang="en-US" sz="4800" dirty="0" smtClean="0">
                <a:solidFill>
                  <a:srgbClr val="05164D"/>
                </a:solidFill>
              </a:rPr>
              <a:t> Server-side</a:t>
            </a:r>
            <a:endParaRPr lang="de-CH" sz="4800" dirty="0">
              <a:solidFill>
                <a:srgbClr val="05164D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4593645" y="1505879"/>
            <a:ext cx="0" cy="1400703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544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0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ivity </a:t>
            </a:r>
            <a:r>
              <a:rPr lang="en-US" dirty="0" smtClean="0"/>
              <a:t>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7194378"/>
              </p:ext>
            </p:extLst>
          </p:nvPr>
        </p:nvGraphicFramePr>
        <p:xfrm>
          <a:off x="191646" y="879473"/>
          <a:ext cx="2870531" cy="24237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05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15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46626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en little or no thought is given to the cleanliness of the code or the structure of the design, as the project grows and complexity increases, the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effort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for any given new feature,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increases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as well.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538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1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840" y="879475"/>
            <a:ext cx="5071384" cy="304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414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2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303212"/>
            <a:ext cx="8497886" cy="460259"/>
          </a:xfrm>
        </p:spPr>
        <p:txBody>
          <a:bodyPr/>
          <a:lstStyle/>
          <a:p>
            <a:r>
              <a:rPr lang="en-US" dirty="0"/>
              <a:t>Cost </a:t>
            </a:r>
            <a:r>
              <a:rPr lang="en-US" dirty="0" smtClean="0"/>
              <a:t>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643188"/>
              </p:ext>
            </p:extLst>
          </p:nvPr>
        </p:nvGraphicFramePr>
        <p:xfrm>
          <a:off x="5755758" y="879475"/>
          <a:ext cx="2946359" cy="1941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6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at caused this remarkable change in productivity? Why was the code 40 times more expensive to produce in release 8 as opposed to release 1?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2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39" y="879475"/>
            <a:ext cx="4953133" cy="337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800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2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529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Some Theory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3297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7337" y="1027687"/>
            <a:ext cx="4299903" cy="2645153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Clea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Hexagonal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Onio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Ports &amp; Adapt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SOLI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4</a:t>
            </a:fld>
            <a:endParaRPr lang="de-DE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62" r="14062"/>
          <a:stretch/>
        </p:blipFill>
        <p:spPr>
          <a:xfrm>
            <a:off x="4587240" y="730263"/>
            <a:ext cx="41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15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Clean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5</a:t>
            </a:fld>
            <a:endParaRPr lang="de-DE" noProof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299" y="340646"/>
            <a:ext cx="6295964" cy="445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47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Hexagonal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6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489" y="609601"/>
            <a:ext cx="4963583" cy="372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747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Ports &amp; Adapters</a:t>
            </a:r>
            <a:br>
              <a:rPr lang="en-US" dirty="0" smtClean="0"/>
            </a:b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7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004" y="609601"/>
            <a:ext cx="5404553" cy="3694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24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ID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193800"/>
            <a:ext cx="8497887" cy="2854325"/>
          </a:xfrm>
        </p:spPr>
        <p:txBody>
          <a:bodyPr/>
          <a:lstStyle/>
          <a:p>
            <a:r>
              <a:rPr lang="en-US" dirty="0" smtClean="0"/>
              <a:t>Single Responsibility Principal (SR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Group things, that change together</a:t>
            </a:r>
          </a:p>
          <a:p>
            <a:r>
              <a:rPr lang="en-US" dirty="0" smtClean="0"/>
              <a:t>Open Closed Principal (OC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The code should be open for extension and closed for modification</a:t>
            </a:r>
          </a:p>
          <a:p>
            <a:r>
              <a:rPr lang="en-US" dirty="0" err="1" smtClean="0"/>
              <a:t>Liskov’s</a:t>
            </a:r>
            <a:r>
              <a:rPr lang="en-US" dirty="0" smtClean="0"/>
              <a:t> Substitution Principal (LS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Derived </a:t>
            </a:r>
            <a:r>
              <a:rPr lang="en-US" b="0" dirty="0">
                <a:solidFill>
                  <a:schemeClr val="tx1"/>
                </a:solidFill>
              </a:rPr>
              <a:t>classes should </a:t>
            </a:r>
            <a:r>
              <a:rPr lang="en-US" b="0" dirty="0" smtClean="0">
                <a:solidFill>
                  <a:schemeClr val="tx1"/>
                </a:solidFill>
              </a:rPr>
              <a:t>extend </a:t>
            </a:r>
            <a:r>
              <a:rPr lang="en-US" b="0" dirty="0">
                <a:solidFill>
                  <a:schemeClr val="tx1"/>
                </a:solidFill>
              </a:rPr>
              <a:t>their base classes without changing their behavior</a:t>
            </a:r>
          </a:p>
          <a:p>
            <a:r>
              <a:rPr lang="en-US" dirty="0" smtClean="0"/>
              <a:t>Interface Segregation Principal (IS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Just expose only the things that are needed to the consumer</a:t>
            </a:r>
          </a:p>
          <a:p>
            <a:r>
              <a:rPr lang="en-US" dirty="0" smtClean="0"/>
              <a:t>Dependency Inversion Principal (DI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The flow of control is opposite to the flow of execu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086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3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910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Into the Cod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739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1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2019869"/>
            <a:ext cx="6330147" cy="1671849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sz="4600" dirty="0" smtClean="0">
                <a:solidFill>
                  <a:srgbClr val="05164D"/>
                </a:solidFill>
              </a:rPr>
              <a:t>Agile Software Architecture</a:t>
            </a:r>
            <a:r>
              <a:rPr lang="en-US" sz="4000" dirty="0">
                <a:solidFill>
                  <a:srgbClr val="05164D"/>
                </a:solidFill>
              </a:rPr>
              <a:t> 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1AD7297-5B97-7B76-F5F1-2D4A54B8AFFA}"/>
              </a:ext>
            </a:extLst>
          </p:cNvPr>
          <p:cNvSpPr txBox="1">
            <a:spLocks/>
          </p:cNvSpPr>
          <p:nvPr/>
        </p:nvSpPr>
        <p:spPr>
          <a:xfrm>
            <a:off x="-821" y="3787007"/>
            <a:ext cx="6335661" cy="562896"/>
          </a:xfrm>
          <a:prstGeom prst="rect">
            <a:avLst/>
          </a:prstGeo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 err="1" smtClean="0">
                <a:solidFill>
                  <a:srgbClr val="05164D"/>
                </a:solidFill>
              </a:rPr>
              <a:t>Evangelos</a:t>
            </a:r>
            <a:r>
              <a:rPr lang="en-US" sz="2000" dirty="0" smtClean="0">
                <a:solidFill>
                  <a:srgbClr val="05164D"/>
                </a:solidFill>
              </a:rPr>
              <a:t>, </a:t>
            </a:r>
            <a:r>
              <a:rPr lang="en-US" sz="2000" dirty="0" err="1" smtClean="0">
                <a:solidFill>
                  <a:srgbClr val="05164D"/>
                </a:solidFill>
              </a:rPr>
              <a:t>Barmpas</a:t>
            </a:r>
            <a:r>
              <a:rPr lang="en-US" sz="2000" dirty="0" smtClean="0">
                <a:solidFill>
                  <a:srgbClr val="05164D"/>
                </a:solidFill>
              </a:rPr>
              <a:t>, Software Engineer</a:t>
            </a:r>
            <a:endParaRPr lang="en-US" sz="2000" dirty="0">
              <a:solidFill>
                <a:srgbClr val="05164D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4539152"/>
            <a:ext cx="1448891" cy="29631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de-DE" sz="1000" dirty="0"/>
              <a:t>intern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60339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286635" y="288758"/>
            <a:ext cx="4140000" cy="4262605"/>
          </a:xfrm>
        </p:spPr>
        <p:txBody>
          <a:bodyPr/>
          <a:lstStyle/>
          <a:p>
            <a:endParaRPr lang="de-CH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half" idx="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025" y="1004948"/>
            <a:ext cx="4140200" cy="2830391"/>
          </a:xfrm>
        </p:spPr>
      </p:pic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0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4294967295"/>
          </p:nvPr>
        </p:nvSpPr>
        <p:spPr>
          <a:xfrm>
            <a:off x="0" y="4791075"/>
            <a:ext cx="549275" cy="92075"/>
          </a:xfrm>
        </p:spPr>
        <p:txBody>
          <a:bodyPr/>
          <a:lstStyle/>
          <a:p>
            <a:r>
              <a:rPr lang="de-DE" noProof="0"/>
              <a:t>Sept 01, 2022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37" y="1000831"/>
            <a:ext cx="4151998" cy="2838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33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9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4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Takeaways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6839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3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Quot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3200" dirty="0" smtClean="0">
                <a:solidFill>
                  <a:srgbClr val="05164D"/>
                </a:solidFill>
              </a:rPr>
              <a:t>“A good software architecture allows major decisions to be differed. </a:t>
            </a:r>
          </a:p>
          <a:p>
            <a:pPr lvl="1"/>
            <a:r>
              <a:rPr lang="en-US" sz="3200" dirty="0" smtClean="0">
                <a:solidFill>
                  <a:srgbClr val="05164D"/>
                </a:solidFill>
              </a:rPr>
              <a:t>A good Architect maximizes the number of decisions </a:t>
            </a:r>
            <a:r>
              <a:rPr lang="en-US" sz="3200" dirty="0" smtClean="0">
                <a:solidFill>
                  <a:srgbClr val="FFAD00"/>
                </a:solidFill>
              </a:rPr>
              <a:t>not</a:t>
            </a:r>
            <a:r>
              <a:rPr lang="en-US" sz="3200" dirty="0" smtClean="0">
                <a:solidFill>
                  <a:srgbClr val="05164D"/>
                </a:solidFill>
              </a:rPr>
              <a:t> made.”</a:t>
            </a:r>
            <a:endParaRPr lang="en-US" sz="3200" dirty="0">
              <a:solidFill>
                <a:srgbClr val="05164D"/>
              </a:solidFill>
            </a:endParaRPr>
          </a:p>
          <a:p>
            <a:pPr lvl="1" algn="r"/>
            <a:r>
              <a:rPr lang="en-US" dirty="0" smtClean="0"/>
              <a:t>Uncle Bob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75797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Conclusio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Work with domain experts</a:t>
            </a:r>
          </a:p>
          <a:p>
            <a:pPr marL="429750" lvl="2" indent="-285750"/>
            <a:r>
              <a:rPr lang="en-US" dirty="0" smtClean="0"/>
              <a:t>Define the domain entities</a:t>
            </a:r>
          </a:p>
          <a:p>
            <a:pPr marL="429750" lvl="2" indent="-285750"/>
            <a:r>
              <a:rPr lang="en-US" dirty="0"/>
              <a:t>D</a:t>
            </a:r>
            <a:r>
              <a:rPr lang="en-US" dirty="0" smtClean="0"/>
              <a:t>evelop </a:t>
            </a:r>
            <a:r>
              <a:rPr lang="en-US" dirty="0"/>
              <a:t>and common understanding </a:t>
            </a:r>
          </a:p>
          <a:p>
            <a:pPr marL="429750" lvl="2" indent="-285750"/>
            <a:r>
              <a:rPr lang="en-US" dirty="0" smtClean="0"/>
              <a:t>Develop a common </a:t>
            </a:r>
            <a:r>
              <a:rPr lang="en-US" dirty="0"/>
              <a:t>language to </a:t>
            </a:r>
            <a:r>
              <a:rPr lang="en-US" dirty="0" smtClean="0"/>
              <a:t>communicate</a:t>
            </a: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Analyze dependencies and recognize </a:t>
            </a: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boundaries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The core of the application should be protected from changes in the environment</a:t>
            </a:r>
          </a:p>
          <a:p>
            <a:pPr marL="429750" lvl="2" indent="-285750"/>
            <a:r>
              <a:rPr lang="en-US" dirty="0" smtClean="0"/>
              <a:t>Ideally the core layer should have zero dependencies</a:t>
            </a: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Differ important decisions</a:t>
            </a:r>
          </a:p>
          <a:p>
            <a:pPr lvl="1"/>
            <a:r>
              <a:rPr lang="en-US" b="1" dirty="0">
                <a:solidFill>
                  <a:schemeClr val="accent3"/>
                </a:solidFill>
                <a:latin typeface="+mj-lt"/>
              </a:rPr>
              <a:t>Heavily Unit test the core of the application</a:t>
            </a:r>
          </a:p>
          <a:p>
            <a:pPr lvl="1"/>
            <a:r>
              <a:rPr lang="en-US" b="1" dirty="0" smtClean="0">
                <a:solidFill>
                  <a:schemeClr val="accent3"/>
                </a:solidFill>
                <a:latin typeface="+mj-lt"/>
              </a:rPr>
              <a:t>Don’t over-engineer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29750" lvl="2" indent="-285750"/>
            <a:endParaRPr lang="en-US" dirty="0" smtClean="0"/>
          </a:p>
          <a:p>
            <a:pPr marL="285750" lvl="1" indent="-285750"/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lvl="2" indent="0">
              <a:buNone/>
            </a:pP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315078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most important thing in software development is </a:t>
            </a:r>
            <a:r>
              <a:rPr lang="en-US" dirty="0">
                <a:solidFill>
                  <a:srgbClr val="FFAD00"/>
                </a:solidFill>
              </a:rPr>
              <a:t>Communication</a:t>
            </a:r>
            <a:r>
              <a:rPr lang="en-US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4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557705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7338" y="303212"/>
            <a:ext cx="8497886" cy="354013"/>
          </a:xfrm>
        </p:spPr>
        <p:txBody>
          <a:bodyPr/>
          <a:lstStyle/>
          <a:p>
            <a:r>
              <a:rPr lang="en-US" dirty="0" smtClean="0"/>
              <a:t>References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5</a:t>
            </a:fld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168" y="745984"/>
            <a:ext cx="1711629" cy="22358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056" y="745984"/>
            <a:ext cx="1711629" cy="223581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925" y="745985"/>
            <a:ext cx="1692197" cy="22358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362" y="745985"/>
            <a:ext cx="1691663" cy="223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900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1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 dirty="0" err="1" smtClean="0"/>
              <a:t>Evangelo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armpas</a:t>
            </a:r>
            <a:r>
              <a:rPr lang="en-US" dirty="0"/>
              <a:t/>
            </a:r>
            <a:br>
              <a:rPr lang="en-US" dirty="0"/>
            </a:br>
            <a:r>
              <a:rPr lang="en-US" baseline="0" dirty="0" smtClean="0">
                <a:hlinkClick r:id="rId7"/>
              </a:rPr>
              <a:t>evangelos</a:t>
            </a:r>
            <a:r>
              <a:rPr lang="en-US" dirty="0" smtClean="0">
                <a:hlinkClick r:id="rId7"/>
              </a:rPr>
              <a:t>.barmpas</a:t>
            </a:r>
            <a:r>
              <a:rPr lang="en-US" baseline="0" dirty="0" smtClean="0">
                <a:hlinkClick r:id="rId7"/>
              </a:rPr>
              <a:t>@lhsystems.com</a:t>
            </a:r>
            <a:endParaRPr lang="en-US" baseline="0" dirty="0" smtClean="0"/>
          </a:p>
          <a:p>
            <a:r>
              <a:rPr lang="en-US" dirty="0" smtClean="0">
                <a:hlinkClick r:id="rId8"/>
              </a:rPr>
              <a:t>https://github.com/vag1830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37500" b="60"/>
          <a:stretch/>
        </p:blipFill>
        <p:spPr>
          <a:xfrm>
            <a:off x="1574678" y="1130482"/>
            <a:ext cx="1440000" cy="2159999"/>
          </a:xfrm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374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612777"/>
            <a:ext cx="8497887" cy="3578223"/>
          </a:xfrm>
        </p:spPr>
        <p:txBody>
          <a:bodyPr/>
          <a:lstStyle/>
          <a:p>
            <a:pPr algn="ctr"/>
            <a:r>
              <a:rPr lang="en-US" baseline="0" noProof="0" dirty="0" smtClean="0"/>
              <a:t>Questions</a:t>
            </a:r>
          </a:p>
          <a:p>
            <a:pPr algn="ctr"/>
            <a:r>
              <a:rPr lang="en-US" sz="15000" baseline="0" noProof="0" dirty="0" smtClean="0">
                <a:solidFill>
                  <a:srgbClr val="FFAD00"/>
                </a:solidFill>
              </a:rPr>
              <a:t>?</a:t>
            </a:r>
            <a:endParaRPr lang="en-US" sz="15000" baseline="0" noProof="0" dirty="0">
              <a:solidFill>
                <a:srgbClr val="FFAD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7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236630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20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1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el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911240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gile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aways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me Theory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estions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ve into the Code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4000" b="1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517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0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Agil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51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>
                <a:solidFill>
                  <a:srgbClr val="FFAD00"/>
                </a:solidFill>
              </a:rPr>
              <a:t>Agile</a:t>
            </a:r>
            <a:r>
              <a:rPr lang="en-GB" dirty="0" smtClean="0"/>
              <a:t>?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6</a:t>
            </a:fld>
            <a:endParaRPr lang="de-DE"/>
          </a:p>
        </p:txBody>
      </p:sp>
      <p:graphicFrame>
        <p:nvGraphicFramePr>
          <p:cNvPr id="7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711389"/>
              </p:ext>
            </p:extLst>
          </p:nvPr>
        </p:nvGraphicFramePr>
        <p:xfrm>
          <a:off x="2187333" y="723685"/>
          <a:ext cx="4697895" cy="1672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1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ble to move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quick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asi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20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gle and several dictionaries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27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550359"/>
              </p:ext>
            </p:extLst>
          </p:nvPr>
        </p:nvGraphicFramePr>
        <p:xfrm>
          <a:off x="375129" y="1943668"/>
          <a:ext cx="4161151" cy="2130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1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595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an iterative approach to project management and software development that helps teams deliver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alue to their customers faster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th fewer headaches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14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lassian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025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586365"/>
              </p:ext>
            </p:extLst>
          </p:nvPr>
        </p:nvGraphicFramePr>
        <p:xfrm>
          <a:off x="4789125" y="2305740"/>
          <a:ext cx="2880000" cy="2531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6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the ability to create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espond to change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 It is a way of dealing with, and ultimately succeeding in, an uncertain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urbulent environment.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”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ile Allianc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008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6818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3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527052"/>
            <a:ext cx="7589837" cy="3806823"/>
          </a:xfrm>
        </p:spPr>
        <p:txBody>
          <a:bodyPr/>
          <a:lstStyle/>
          <a:p>
            <a:r>
              <a:rPr lang="en-US" sz="8000" baseline="0" noProof="0" dirty="0" smtClean="0"/>
              <a:t>Why</a:t>
            </a:r>
            <a:r>
              <a:rPr lang="en-US" sz="8000" noProof="0" dirty="0" smtClean="0"/>
              <a:t> </a:t>
            </a:r>
            <a:r>
              <a:rPr lang="en-US" sz="8000" baseline="0" noProof="0" dirty="0" smtClean="0">
                <a:solidFill>
                  <a:schemeClr val="accent5"/>
                </a:solidFill>
              </a:rPr>
              <a:t>Agile </a:t>
            </a:r>
            <a:r>
              <a:rPr lang="en-US" sz="8000" baseline="0" noProof="0" dirty="0" smtClean="0"/>
              <a:t>Software Architecture?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7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2943372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2089" y="974727"/>
            <a:ext cx="7847012" cy="3140073"/>
          </a:xfrm>
        </p:spPr>
        <p:txBody>
          <a:bodyPr/>
          <a:lstStyle/>
          <a:p>
            <a:r>
              <a:rPr lang="en-US" sz="8000" baseline="0" noProof="0" dirty="0" smtClean="0">
                <a:solidFill>
                  <a:schemeClr val="accent5"/>
                </a:solidFill>
              </a:rPr>
              <a:t>Scrum </a:t>
            </a:r>
            <a:r>
              <a:rPr lang="en-US" sz="8000" dirty="0" smtClean="0"/>
              <a:t>does not mean </a:t>
            </a:r>
            <a:r>
              <a:rPr lang="en-US" sz="8000" dirty="0" smtClean="0">
                <a:solidFill>
                  <a:srgbClr val="FFAD00"/>
                </a:solidFill>
              </a:rPr>
              <a:t>Agile</a:t>
            </a:r>
            <a:r>
              <a:rPr lang="en-US" sz="8000" dirty="0" smtClean="0"/>
              <a:t>.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34364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642739" y="872795"/>
            <a:ext cx="5121179" cy="3061029"/>
          </a:xfrm>
        </p:spPr>
        <p:txBody>
          <a:bodyPr/>
          <a:lstStyle/>
          <a:p>
            <a:r>
              <a:rPr lang="en-US" sz="4800" dirty="0" smtClean="0"/>
              <a:t>What is it ?</a:t>
            </a:r>
          </a:p>
          <a:p>
            <a:endParaRPr lang="en-US" sz="2000" dirty="0" smtClean="0"/>
          </a:p>
          <a:p>
            <a:r>
              <a:rPr lang="en-US" sz="2000" dirty="0" smtClean="0"/>
              <a:t>Application is the </a:t>
            </a:r>
            <a:r>
              <a:rPr lang="en-US" sz="2000" dirty="0" smtClean="0">
                <a:solidFill>
                  <a:srgbClr val="FFAD00"/>
                </a:solidFill>
              </a:rPr>
              <a:t>collection of objects </a:t>
            </a:r>
            <a:r>
              <a:rPr lang="en-US" sz="2000" dirty="0" smtClean="0"/>
              <a:t>in the code and the </a:t>
            </a:r>
            <a:r>
              <a:rPr lang="en-US" sz="2000" dirty="0" smtClean="0">
                <a:solidFill>
                  <a:srgbClr val="FFAD00"/>
                </a:solidFill>
              </a:rPr>
              <a:t>business rules </a:t>
            </a:r>
            <a:r>
              <a:rPr lang="en-US" sz="2000" dirty="0" smtClean="0"/>
              <a:t>that apply to them.</a:t>
            </a:r>
            <a:endParaRPr lang="de-CH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9</a:t>
            </a:fld>
            <a:endParaRPr lang="de-DE"/>
          </a:p>
        </p:txBody>
      </p:sp>
      <p:grpSp>
        <p:nvGrpSpPr>
          <p:cNvPr id="6" name="Gruppieren 19"/>
          <p:cNvGrpSpPr/>
          <p:nvPr/>
        </p:nvGrpSpPr>
        <p:grpSpPr>
          <a:xfrm>
            <a:off x="231267" y="769417"/>
            <a:ext cx="3308095" cy="3308095"/>
            <a:chOff x="6841225" y="3395538"/>
            <a:chExt cx="1728000" cy="1728000"/>
          </a:xfrm>
        </p:grpSpPr>
        <p:sp>
          <p:nvSpPr>
            <p:cNvPr id="7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8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3600" baseline="0" dirty="0" smtClean="0">
                  <a:solidFill>
                    <a:schemeClr val="bg1"/>
                  </a:solidFill>
                  <a:latin typeface="+mn-lt"/>
                </a:rPr>
                <a:t>Application</a:t>
              </a:r>
              <a:endParaRPr lang="en-US" sz="1300" baseline="0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734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EUYuQweLFOoq1s9A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11EDACB0142D49BF8A5BE4A419AFA3" ma:contentTypeVersion="4" ma:contentTypeDescription="Create a new document." ma:contentTypeScope="" ma:versionID="86fb05fd6e0bb0c57b9bd09c382e3acb">
  <xsd:schema xmlns:xsd="http://www.w3.org/2001/XMLSchema" xmlns:xs="http://www.w3.org/2001/XMLSchema" xmlns:p="http://schemas.microsoft.com/office/2006/metadata/properties" xmlns:ns2="330bdd64-2cd7-4742-b7a5-c2d8fa312a38" targetNamespace="http://schemas.microsoft.com/office/2006/metadata/properties" ma:root="true" ma:fieldsID="780021a8138e1da9ab3e73fc28ed5b30" ns2:_="">
    <xsd:import namespace="330bdd64-2cd7-4742-b7a5-c2d8fa312a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bdd64-2cd7-4742-b7a5-c2d8fa312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724530-E925-4DD3-9BC1-88FCD3735F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EA8799-28BD-47E2-8819-4BD7D31D290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330bdd64-2cd7-4742-b7a5-c2d8fa312a3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218C2C3-24EE-409F-983E-677EDE0535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0bdd64-2cd7-4742-b7a5-c2d8fa312a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0</Words>
  <Application>Microsoft Office PowerPoint</Application>
  <PresentationFormat>On-screen Show (16:9)</PresentationFormat>
  <Paragraphs>216</Paragraphs>
  <Slides>27</Slides>
  <Notes>22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Wingdings 3</vt:lpstr>
      <vt:lpstr>Arial</vt:lpstr>
      <vt:lpstr>Wingdings</vt:lpstr>
      <vt:lpstr>Lufthansa Office Text</vt:lpstr>
      <vt:lpstr>Lufthansa Office Head</vt:lpstr>
      <vt:lpstr>Lufthansa Systems Template 16 : 9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Agile?</vt:lpstr>
      <vt:lpstr>PowerPoint Presentation</vt:lpstr>
      <vt:lpstr>PowerPoint Presentation</vt:lpstr>
      <vt:lpstr>PowerPoint Presentation</vt:lpstr>
      <vt:lpstr>Common Misconception</vt:lpstr>
      <vt:lpstr>Productivity by release</vt:lpstr>
      <vt:lpstr>Cost by release</vt:lpstr>
      <vt:lpstr>PowerPoint Presentation</vt:lpstr>
      <vt:lpstr>PowerPoint Presentation</vt:lpstr>
      <vt:lpstr>Clean Architecture</vt:lpstr>
      <vt:lpstr>Hexagonal Architecture</vt:lpstr>
      <vt:lpstr>Ports &amp; Adapters </vt:lpstr>
      <vt:lpstr>SOLID</vt:lpstr>
      <vt:lpstr>PowerPoint Presentation</vt:lpstr>
      <vt:lpstr>PowerPoint Presentation</vt:lpstr>
      <vt:lpstr>PowerPoint Presentation</vt:lpstr>
      <vt:lpstr>Quote</vt:lpstr>
      <vt:lpstr>Conclusion</vt:lpstr>
      <vt:lpstr>PowerPoint Presentation</vt:lpstr>
      <vt:lpstr>References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EBD</dc:creator>
  <cp:keywords/>
  <dc:description/>
  <cp:lastModifiedBy>EvangelosBarmpas</cp:lastModifiedBy>
  <cp:revision>231</cp:revision>
  <dcterms:created xsi:type="dcterms:W3CDTF">2018-01-31T08:58:58Z</dcterms:created>
  <dcterms:modified xsi:type="dcterms:W3CDTF">2022-08-30T12:44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1c7476-f302-47ca-97a0-972f32671471_Enabled">
    <vt:lpwstr>true</vt:lpwstr>
  </property>
  <property fmtid="{D5CDD505-2E9C-101B-9397-08002B2CF9AE}" pid="3" name="MSIP_Label_2d1c7476-f302-47ca-97a0-972f32671471_SetDate">
    <vt:lpwstr>2022-07-04T11:53:54Z</vt:lpwstr>
  </property>
  <property fmtid="{D5CDD505-2E9C-101B-9397-08002B2CF9AE}" pid="4" name="MSIP_Label_2d1c7476-f302-47ca-97a0-972f32671471_Method">
    <vt:lpwstr>Standard</vt:lpwstr>
  </property>
  <property fmtid="{D5CDD505-2E9C-101B-9397-08002B2CF9AE}" pid="5" name="MSIP_Label_2d1c7476-f302-47ca-97a0-972f32671471_Name">
    <vt:lpwstr>Internal</vt:lpwstr>
  </property>
  <property fmtid="{D5CDD505-2E9C-101B-9397-08002B2CF9AE}" pid="6" name="MSIP_Label_2d1c7476-f302-47ca-97a0-972f32671471_SiteId">
    <vt:lpwstr>72e15514-5be9-46a8-8b0b-af9b1b77b3b8</vt:lpwstr>
  </property>
  <property fmtid="{D5CDD505-2E9C-101B-9397-08002B2CF9AE}" pid="7" name="MSIP_Label_2d1c7476-f302-47ca-97a0-972f32671471_ActionId">
    <vt:lpwstr>fd6e05d6-242d-4c9b-b766-58766d84138f</vt:lpwstr>
  </property>
  <property fmtid="{D5CDD505-2E9C-101B-9397-08002B2CF9AE}" pid="8" name="MSIP_Label_2d1c7476-f302-47ca-97a0-972f32671471_ContentBits">
    <vt:lpwstr>0</vt:lpwstr>
  </property>
  <property fmtid="{D5CDD505-2E9C-101B-9397-08002B2CF9AE}" pid="9" name="ContentTypeId">
    <vt:lpwstr>0x010100B811EDACB0142D49BF8A5BE4A419AFA3</vt:lpwstr>
  </property>
</Properties>
</file>